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tags/tag13.xml" ContentType="application/vnd.openxmlformats-officedocument.presentationml.tags+xml"/>
  <Override PartName="/ppt/notesSlides/notesSlide10.xml" ContentType="application/vnd.openxmlformats-officedocument.presentationml.notesSlide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notesSlides/notesSlide12.xml" ContentType="application/vnd.openxmlformats-officedocument.presentationml.notesSlide+xml"/>
  <Override PartName="/ppt/tags/tag16.xml" ContentType="application/vnd.openxmlformats-officedocument.presentationml.tags+xml"/>
  <Override PartName="/ppt/notesSlides/notesSlide13.xml" ContentType="application/vnd.openxmlformats-officedocument.presentationml.notesSlide+xml"/>
  <Override PartName="/ppt/tags/tag17.xml" ContentType="application/vnd.openxmlformats-officedocument.presentationml.tags+xml"/>
  <Override PartName="/ppt/notesSlides/notesSlide14.xml" ContentType="application/vnd.openxmlformats-officedocument.presentationml.notesSlide+xml"/>
  <Override PartName="/ppt/tags/tag18.xml" ContentType="application/vnd.openxmlformats-officedocument.presentationml.tags+xml"/>
  <Override PartName="/ppt/notesSlides/notesSlide15.xml" ContentType="application/vnd.openxmlformats-officedocument.presentationml.notesSlide+xml"/>
  <Override PartName="/ppt/tags/tag19.xml" ContentType="application/vnd.openxmlformats-officedocument.presentationml.tags+xml"/>
  <Override PartName="/ppt/notesSlides/notesSlide16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1"/>
  </p:sldMasterIdLst>
  <p:notesMasterIdLst>
    <p:notesMasterId r:id="rId21"/>
  </p:notesMasterIdLst>
  <p:sldIdLst>
    <p:sldId id="257" r:id="rId2"/>
    <p:sldId id="256" r:id="rId3"/>
    <p:sldId id="262" r:id="rId4"/>
    <p:sldId id="258" r:id="rId5"/>
    <p:sldId id="259" r:id="rId6"/>
    <p:sldId id="260" r:id="rId7"/>
    <p:sldId id="261" r:id="rId8"/>
    <p:sldId id="277" r:id="rId9"/>
    <p:sldId id="264" r:id="rId10"/>
    <p:sldId id="278" r:id="rId11"/>
    <p:sldId id="271" r:id="rId12"/>
    <p:sldId id="279" r:id="rId13"/>
    <p:sldId id="280" r:id="rId14"/>
    <p:sldId id="268" r:id="rId15"/>
    <p:sldId id="266" r:id="rId16"/>
    <p:sldId id="270" r:id="rId17"/>
    <p:sldId id="281" r:id="rId18"/>
    <p:sldId id="274" r:id="rId19"/>
    <p:sldId id="272" r:id="rId20"/>
  </p:sldIdLst>
  <p:sldSz cx="12192000" cy="6858000"/>
  <p:notesSz cx="6858000" cy="9144000"/>
  <p:custDataLst>
    <p:tags r:id="rId2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3445EC2-0555-43D7-B6E0-4C24A5C06D91}">
          <p14:sldIdLst>
            <p14:sldId id="257"/>
            <p14:sldId id="256"/>
          </p14:sldIdLst>
        </p14:section>
        <p14:section name="Laget" id="{740931CF-94AD-473C-8B3C-1118A9F1D9B8}">
          <p14:sldIdLst>
            <p14:sldId id="262"/>
          </p14:sldIdLst>
        </p14:section>
        <p14:section name="Summering säsongen 2022/23" id="{42C5A87B-F4BD-444D-90AF-8BE28E3FFD74}">
          <p14:sldIdLst>
            <p14:sldId id="258"/>
          </p14:sldIdLst>
        </p14:section>
        <p14:section name="Utvärdering &amp; plan 2023/24" id="{40C948D3-9B2E-4069-8518-37838046E216}">
          <p14:sldIdLst>
            <p14:sldId id="259"/>
            <p14:sldId id="260"/>
            <p14:sldId id="261"/>
            <p14:sldId id="277"/>
          </p14:sldIdLst>
        </p14:section>
        <p14:section name="Träningar + upplägg" id="{725D4EA6-BEDA-4344-9FBC-ED0A077EF8BA}">
          <p14:sldIdLst>
            <p14:sldId id="264"/>
          </p14:sldIdLst>
        </p14:section>
        <p14:section name="Fysträning" id="{1A70243C-0004-4F8B-A267-E057225B9706}">
          <p14:sldIdLst>
            <p14:sldId id="278"/>
          </p14:sldIdLst>
        </p14:section>
        <p14:section name="Serier + kallelser" id="{09596A00-5CB6-4AAD-83BC-9D803F679C9F}">
          <p14:sldIdLst>
            <p14:sldId id="271"/>
            <p14:sldId id="279"/>
          </p14:sldIdLst>
        </p14:section>
        <p14:section name="Spelregler" id="{ADB01699-46CE-4D19-9BBE-C17165A5B30B}">
          <p14:sldIdLst>
            <p14:sldId id="280"/>
          </p14:sldIdLst>
        </p14:section>
        <p14:section name="Mål för säsongen" id="{3C39A0BD-D440-4F9F-B9E8-9B58A99D0452}">
          <p14:sldIdLst>
            <p14:sldId id="268"/>
          </p14:sldIdLst>
        </p14:section>
        <p14:section name="Cuper" id="{C21515F2-D8CA-4DEA-B413-31EB8CE93D83}">
          <p14:sldIdLst>
            <p14:sldId id="266"/>
          </p14:sldIdLst>
        </p14:section>
        <p14:section name="Ekonomi &amp; försäljning" id="{FC60E083-2319-4828-B228-4EFE5A8B5704}">
          <p14:sldIdLst>
            <p14:sldId id="270"/>
          </p14:sldIdLst>
        </p14:section>
        <p14:section name="Övrigt" id="{13DE03E7-E562-4F83-97D7-F3232EA4BFFE}">
          <p14:sldIdLst>
            <p14:sldId id="281"/>
          </p14:sldIdLst>
        </p14:section>
        <p14:section name="Q&amp;A" id="{91EAFE60-6968-4EC9-BC31-279E8FA30F82}">
          <p14:sldIdLst>
            <p14:sldId id="274"/>
            <p14:sldId id="27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EE735BF-AEEB-432B-83AB-925034CC8234}" v="3552" dt="2023-09-25T10:53:44.482"/>
    <p1510:client id="{D3FEA0CC-2855-0B16-80D4-3F2F9C4386D1}" v="15" dt="2023-09-26T11:58:09.13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88026" autoAdjust="0"/>
  </p:normalViewPr>
  <p:slideViewPr>
    <p:cSldViewPr snapToGrid="0">
      <p:cViewPr varScale="1">
        <p:scale>
          <a:sx n="75" d="100"/>
          <a:sy n="75" d="100"/>
        </p:scale>
        <p:origin x="931" y="6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09A1E0-CDDB-4206-8083-BB7416B1FA36}" type="datetimeFigureOut">
              <a:rPr lang="sv-SE" smtClean="0"/>
              <a:t>2023-09-26</a:t>
            </a:fld>
            <a:endParaRPr lang="sv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F995620-BC3C-49EB-9530-C133B84EA674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389510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And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995620-BC3C-49EB-9530-C133B84EA674}" type="slidenum">
              <a:rPr lang="sv-SE" smtClean="0"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774137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Andreas</a:t>
            </a:r>
            <a:endParaRPr lang="sv-SE" dirty="0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995620-BC3C-49EB-9530-C133B84EA674}" type="slidenum">
              <a:rPr lang="sv-SE" smtClean="0"/>
              <a:t>1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76264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Andreas </a:t>
            </a:r>
          </a:p>
          <a:p>
            <a:r>
              <a:rPr lang="sv-SE" dirty="0"/>
              <a:t>-På förhand två jämna serier</a:t>
            </a:r>
          </a:p>
          <a:p>
            <a:r>
              <a:rPr lang="sv-SE" dirty="0"/>
              <a:t>-Vi kommer försöka ändra så vi får matcher lördag och söndag så gott det går</a:t>
            </a:r>
          </a:p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995620-BC3C-49EB-9530-C133B84EA674}" type="slidenum">
              <a:rPr lang="sv-SE" smtClean="0"/>
              <a:t>1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4023782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And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995620-BC3C-49EB-9530-C133B84EA674}" type="slidenum">
              <a:rPr lang="sv-SE" smtClean="0"/>
              <a:t>1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3678915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Dani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995620-BC3C-49EB-9530-C133B84EA674}" type="slidenum">
              <a:rPr lang="sv-SE" smtClean="0"/>
              <a:t>1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451350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Lagleda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995620-BC3C-49EB-9530-C133B84EA674}" type="slidenum">
              <a:rPr lang="sv-SE" smtClean="0"/>
              <a:t>1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903246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Lagleda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995620-BC3C-49EB-9530-C133B84EA674}" type="slidenum">
              <a:rPr lang="sv-SE" smtClean="0"/>
              <a:t>1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4719635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 panose="020F0502020204030204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995620-BC3C-49EB-9530-C133B84EA674}" type="slidenum">
              <a:rPr lang="sv-SE" smtClean="0"/>
              <a:t>1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124104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Daniel</a:t>
            </a:r>
            <a:endParaRPr lang="sv-SE" dirty="0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995620-BC3C-49EB-9530-C133B84EA674}" type="slidenum">
              <a:rPr lang="sv-SE" smtClean="0"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275954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Andreas</a:t>
            </a:r>
          </a:p>
          <a:p>
            <a:endParaRPr lang="sv-SE" dirty="0"/>
          </a:p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995620-BC3C-49EB-9530-C133B84EA674}" type="slidenum">
              <a:rPr lang="sv-SE" smtClean="0"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653187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Dani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995620-BC3C-49EB-9530-C133B84EA674}" type="slidenum">
              <a:rPr lang="sv-SE" smtClean="0"/>
              <a:t>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534101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Daniel </a:t>
            </a:r>
          </a:p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995620-BC3C-49EB-9530-C133B84EA674}" type="slidenum">
              <a:rPr lang="sv-SE" smtClean="0"/>
              <a:t>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732135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Dani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995620-BC3C-49EB-9530-C133B84EA674}" type="slidenum">
              <a:rPr lang="sv-SE" smtClean="0"/>
              <a:t>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745545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Andrea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995620-BC3C-49EB-9530-C133B84EA674}" type="slidenum">
              <a:rPr lang="sv-SE" smtClean="0"/>
              <a:t>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721506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Andreas</a:t>
            </a:r>
          </a:p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995620-BC3C-49EB-9530-C133B84EA674}" type="slidenum">
              <a:rPr lang="sv-SE" smtClean="0"/>
              <a:t>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359073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Daniel</a:t>
            </a:r>
          </a:p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F995620-BC3C-49EB-9530-C133B84EA674}" type="slidenum">
              <a:rPr lang="sv-SE" smtClean="0"/>
              <a:t>1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271480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95269" y="1122363"/>
            <a:ext cx="9001462" cy="2387600"/>
          </a:xfrm>
        </p:spPr>
        <p:txBody>
          <a:bodyPr anchor="b">
            <a:normAutofit/>
          </a:bodyPr>
          <a:lstStyle>
            <a:lvl1pPr algn="ctr"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95269" y="3602038"/>
            <a:ext cx="9001462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6ECD10-6B27-4175-9575-1EBC76E310BA}" type="datetimeFigureOut">
              <a:rPr lang="sv-SE" smtClean="0"/>
              <a:t>2023-09-26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D35E40-61D9-485E-914F-03CF9E60ED65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755075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806" y="4289372"/>
            <a:ext cx="10367564" cy="819355"/>
          </a:xfrm>
        </p:spPr>
        <p:txBody>
          <a:bodyPr anchor="b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13806" y="621321"/>
            <a:ext cx="10367564" cy="3379735"/>
          </a:xfrm>
          <a:noFill/>
          <a:ln w="1905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5" y="5108728"/>
            <a:ext cx="10365998" cy="682472"/>
          </a:xfrm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6ECD10-6B27-4175-9575-1EBC76E310BA}" type="datetimeFigureOut">
              <a:rPr lang="sv-SE" smtClean="0"/>
              <a:t>2023-09-26</a:t>
            </a:fld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D35E40-61D9-485E-914F-03CF9E60ED65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849796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5" y="609600"/>
            <a:ext cx="10353762" cy="3424859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5" y="4204820"/>
            <a:ext cx="10353761" cy="1592186"/>
          </a:xfrm>
        </p:spPr>
        <p:txBody>
          <a:bodyPr anchor="ctr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6ECD10-6B27-4175-9575-1EBC76E310BA}" type="datetimeFigureOut">
              <a:rPr lang="sv-SE" smtClean="0"/>
              <a:t>2023-09-26</a:t>
            </a:fld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D35E40-61D9-485E-914F-03CF9E60ED65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879944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2" y="609600"/>
            <a:ext cx="9302752" cy="2992904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1720644" y="3610032"/>
            <a:ext cx="8752299" cy="426812"/>
          </a:xfrm>
        </p:spPr>
        <p:txBody>
          <a:bodyPr anchor="t">
            <a:normAutofit/>
          </a:bodyPr>
          <a:lstStyle>
            <a:lvl1pPr marL="0" indent="0" algn="r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4" y="4204821"/>
            <a:ext cx="10353762" cy="158638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6ECD10-6B27-4175-9575-1EBC76E310BA}" type="datetimeFigureOut">
              <a:rPr lang="sv-SE" smtClean="0"/>
              <a:t>2023-09-26</a:t>
            </a:fld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D35E40-61D9-485E-914F-03CF9E60ED65}" type="slidenum">
              <a:rPr lang="sv-SE" smtClean="0"/>
              <a:t>‹#›</a:t>
            </a:fld>
            <a:endParaRPr lang="sv-SE"/>
          </a:p>
        </p:txBody>
      </p:sp>
      <p:sp>
        <p:nvSpPr>
          <p:cNvPr id="11" name="TextBox 10"/>
          <p:cNvSpPr txBox="1"/>
          <p:nvPr/>
        </p:nvSpPr>
        <p:spPr>
          <a:xfrm>
            <a:off x="836612" y="73524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657956" y="2972093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2225922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806" y="2126942"/>
            <a:ext cx="10355327" cy="251183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4" y="4650556"/>
            <a:ext cx="10353763" cy="1140644"/>
          </a:xfrm>
        </p:spPr>
        <p:txBody>
          <a:bodyPr anchor="t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6ECD10-6B27-4175-9575-1EBC76E310BA}" type="datetimeFigureOut">
              <a:rPr lang="sv-SE" smtClean="0"/>
              <a:t>2023-09-26</a:t>
            </a:fld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D35E40-61D9-485E-914F-03CF9E60ED65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7137276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913794" y="609600"/>
            <a:ext cx="10353762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913794" y="2088319"/>
            <a:ext cx="3298956" cy="823305"/>
          </a:xfr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913794" y="2911624"/>
            <a:ext cx="3298956" cy="2879576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44878" y="2088320"/>
            <a:ext cx="3298558" cy="823304"/>
          </a:xfr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4444878" y="2911624"/>
            <a:ext cx="3299821" cy="2879576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73298" y="2088320"/>
            <a:ext cx="3291211" cy="823304"/>
          </a:xfr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7976346" y="2911624"/>
            <a:ext cx="3291211" cy="2879576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6ECD10-6B27-4175-9575-1EBC76E310BA}" type="datetimeFigureOut">
              <a:rPr lang="sv-SE" smtClean="0"/>
              <a:t>2023-09-26</a:t>
            </a:fld>
            <a:endParaRPr lang="sv-S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D35E40-61D9-485E-914F-03CF9E60ED65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026999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913795" y="609600"/>
            <a:ext cx="10353762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913795" y="4195899"/>
            <a:ext cx="3298955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1092020" y="2298987"/>
            <a:ext cx="2940050" cy="1524000"/>
          </a:xfrm>
          <a:prstGeom prst="roundRect">
            <a:avLst>
              <a:gd name="adj" fmla="val 0"/>
            </a:avLst>
          </a:prstGeom>
          <a:noFill/>
          <a:ln w="14605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8"/>
          </p:nvPr>
        </p:nvSpPr>
        <p:spPr>
          <a:xfrm>
            <a:off x="913795" y="4772161"/>
            <a:ext cx="3298955" cy="101903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42701" y="4195899"/>
            <a:ext cx="3298983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568996" y="2298987"/>
            <a:ext cx="2930525" cy="1524000"/>
          </a:xfrm>
          <a:prstGeom prst="roundRect">
            <a:avLst>
              <a:gd name="adj" fmla="val 0"/>
            </a:avLst>
          </a:prstGeom>
          <a:noFill/>
          <a:ln w="14605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4441348" y="4772160"/>
            <a:ext cx="3300336" cy="101903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73423" y="4195899"/>
            <a:ext cx="3289900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8152803" y="2298987"/>
            <a:ext cx="2932113" cy="1524000"/>
          </a:xfrm>
          <a:prstGeom prst="roundRect">
            <a:avLst>
              <a:gd name="adj" fmla="val 0"/>
            </a:avLst>
          </a:prstGeom>
          <a:noFill/>
          <a:ln w="14605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7973298" y="4772161"/>
            <a:ext cx="3294258" cy="1019037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6ECD10-6B27-4175-9575-1EBC76E310BA}" type="datetimeFigureOut">
              <a:rPr lang="sv-SE" smtClean="0"/>
              <a:t>2023-09-26</a:t>
            </a:fld>
            <a:endParaRPr lang="sv-S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D35E40-61D9-485E-914F-03CF9E60ED65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457803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6ECD10-6B27-4175-9575-1EBC76E310BA}" type="datetimeFigureOut">
              <a:rPr lang="sv-SE" smtClean="0"/>
              <a:t>2023-09-26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D35E40-61D9-485E-914F-03CF9E60ED65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079199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609599"/>
            <a:ext cx="2542657" cy="5181601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3794" y="609599"/>
            <a:ext cx="7658705" cy="518160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6ECD10-6B27-4175-9575-1EBC76E310BA}" type="datetimeFigureOut">
              <a:rPr lang="sv-SE" smtClean="0"/>
              <a:t>2023-09-26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D35E40-61D9-485E-914F-03CF9E60ED65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304628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6ECD10-6B27-4175-9575-1EBC76E310BA}" type="datetimeFigureOut">
              <a:rPr lang="sv-SE" smtClean="0"/>
              <a:t>2023-09-26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D35E40-61D9-485E-914F-03CF9E60ED65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410110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9244" y="657226"/>
            <a:ext cx="9733512" cy="2852737"/>
          </a:xfrm>
        </p:spPr>
        <p:txBody>
          <a:bodyPr anchor="b">
            <a:normAutofit/>
          </a:bodyPr>
          <a:lstStyle>
            <a:lvl1pPr>
              <a:defRPr sz="3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29244" y="3602038"/>
            <a:ext cx="9733512" cy="1500187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6ECD10-6B27-4175-9575-1EBC76E310BA}" type="datetimeFigureOut">
              <a:rPr lang="sv-SE" smtClean="0"/>
              <a:t>2023-09-26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D35E40-61D9-485E-914F-03CF9E60ED65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607030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5" y="609600"/>
            <a:ext cx="10353761" cy="132632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3795" y="2088319"/>
            <a:ext cx="5106004" cy="370288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3403" y="2088319"/>
            <a:ext cx="5094154" cy="370288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6ECD10-6B27-4175-9575-1EBC76E310BA}" type="datetimeFigureOut">
              <a:rPr lang="sv-SE" smtClean="0"/>
              <a:t>2023-09-26</a:t>
            </a:fld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D35E40-61D9-485E-914F-03CF9E60ED65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837172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5" y="609600"/>
            <a:ext cx="10353761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1804" y="2088320"/>
            <a:ext cx="4879199" cy="823912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3795" y="2912232"/>
            <a:ext cx="5107208" cy="28789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02003" y="2088320"/>
            <a:ext cx="4865554" cy="823912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912232"/>
            <a:ext cx="5095357" cy="28789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6ECD10-6B27-4175-9575-1EBC76E310BA}" type="datetimeFigureOut">
              <a:rPr lang="sv-SE" smtClean="0"/>
              <a:t>2023-09-26</a:t>
            </a:fld>
            <a:endParaRPr lang="sv-S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D35E40-61D9-485E-914F-03CF9E60ED65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981329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6ECD10-6B27-4175-9575-1EBC76E310BA}" type="datetimeFigureOut">
              <a:rPr lang="sv-SE" smtClean="0"/>
              <a:t>2023-09-26</a:t>
            </a:fld>
            <a:endParaRPr lang="sv-S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D35E40-61D9-485E-914F-03CF9E60ED65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43883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6ECD10-6B27-4175-9575-1EBC76E310BA}" type="datetimeFigureOut">
              <a:rPr lang="sv-SE" smtClean="0"/>
              <a:t>2023-09-26</a:t>
            </a:fld>
            <a:endParaRPr lang="sv-S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D35E40-61D9-485E-914F-03CF9E60ED65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67148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7228" y="609600"/>
            <a:ext cx="3932237" cy="2362200"/>
          </a:xfrm>
        </p:spPr>
        <p:txBody>
          <a:bodyPr anchor="b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78064" y="609600"/>
            <a:ext cx="6189492" cy="5181600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7228" y="2971800"/>
            <a:ext cx="3932237" cy="2819399"/>
          </a:xfrm>
        </p:spPr>
        <p:txBody>
          <a:bodyPr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6ECD10-6B27-4175-9575-1EBC76E310BA}" type="datetimeFigureOut">
              <a:rPr lang="sv-SE" smtClean="0"/>
              <a:t>2023-09-26</a:t>
            </a:fld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D35E40-61D9-485E-914F-03CF9E60ED65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366531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7227" y="609600"/>
            <a:ext cx="5929773" cy="2362200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424804" y="758881"/>
            <a:ext cx="3255356" cy="4883038"/>
          </a:xfrm>
          <a:noFill/>
          <a:ln w="1905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4" y="2971800"/>
            <a:ext cx="5934950" cy="2819400"/>
          </a:xfrm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6ECD10-6B27-4175-9575-1EBC76E310BA}" type="datetimeFigureOut">
              <a:rPr lang="sv-SE" smtClean="0"/>
              <a:t>2023-09-26</a:t>
            </a:fld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D35E40-61D9-485E-914F-03CF9E60ED65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885490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3795" y="609600"/>
            <a:ext cx="10353761" cy="13263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3795" y="2096064"/>
            <a:ext cx="10353762" cy="36951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78736" y="58832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6ECD10-6B27-4175-9575-1EBC76E310BA}" type="datetimeFigureOut">
              <a:rPr lang="sv-SE" smtClean="0"/>
              <a:t>2023-09-26</a:t>
            </a:fld>
            <a:endParaRPr lang="sv-S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13794" y="5883275"/>
            <a:ext cx="66728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14011" y="5883275"/>
            <a:ext cx="75354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D35E40-61D9-485E-914F-03CF9E60ED65}" type="slidenum">
              <a:rPr lang="sv-SE" smtClean="0"/>
              <a:t>‹#›</a:t>
            </a:fld>
            <a:endParaRPr lang="sv-SE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F85D0C5-B15B-41B9-819E-1869233B97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42135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21" imgW="344" imgH="344" progId="TCLayout.ActiveDocument.1">
                  <p:embed/>
                </p:oleObj>
              </mc:Choice>
              <mc:Fallback>
                <p:oleObj name="think-cell Slide" r:id="rId21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F85D0C5-B15B-41B9-819E-1869233B97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0217752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  <p:sldLayoutId id="2147483695" r:id="rId17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400" b="1" i="0" kern="1200" cap="all">
          <a:solidFill>
            <a:schemeClr val="tx1"/>
          </a:solidFill>
          <a:effectLst>
            <a:outerShdw blurRad="50800" dist="63500" dir="2700000" algn="tl" rotWithShape="0">
              <a:srgbClr val="000000">
                <a:alpha val="48000"/>
              </a:srgbClr>
            </a:outerShdw>
          </a:effectLst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effectLst>
            <a:outerShdw blurRad="50800" dist="38100" dir="2700000" algn="tl" rotWithShape="0">
              <a:srgbClr val="000000">
                <a:alpha val="48000"/>
              </a:srgbClr>
            </a:outerShdw>
          </a:effectLst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effectLst>
            <a:outerShdw blurRad="50800" dist="38100" dir="2700000" algn="tl" rotWithShape="0">
              <a:srgbClr val="000000">
                <a:alpha val="48000"/>
              </a:srgbClr>
            </a:outerShdw>
          </a:effectLst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effectLst>
            <a:outerShdw blurRad="50800" dist="38100" dir="2700000" algn="tl" rotWithShape="0">
              <a:srgbClr val="000000">
                <a:alpha val="48000"/>
              </a:srgbClr>
            </a:outerShdw>
          </a:effectLst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effectLst>
            <a:outerShdw blurRad="50800" dist="38100" dir="2700000" algn="tl" rotWithShape="0">
              <a:srgbClr val="000000">
                <a:alpha val="48000"/>
              </a:srgbClr>
            </a:outerShdw>
          </a:effectLst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effectLst>
            <a:outerShdw blurRad="50800" dist="38100" dir="2700000" algn="tl" rotWithShape="0">
              <a:srgbClr val="000000">
                <a:alpha val="48000"/>
              </a:srgbClr>
            </a:outerShdw>
          </a:effectLst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effectLst>
            <a:outerShdw blurRad="50800" dist="38100" dir="2700000" algn="tl" rotWithShape="0">
              <a:srgbClr val="000000">
                <a:alpha val="48000"/>
              </a:srgbClr>
            </a:outerShdw>
          </a:effectLst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effectLst>
            <a:outerShdw blurRad="50800" dist="38100" dir="2700000" algn="tl" rotWithShape="0">
              <a:srgbClr val="000000">
                <a:alpha val="48000"/>
              </a:srgbClr>
            </a:outerShdw>
          </a:effectLst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effectLst>
            <a:outerShdw blurRad="50800" dist="38100" dir="2700000" algn="tl" rotWithShape="0">
              <a:srgbClr val="000000">
                <a:alpha val="48000"/>
              </a:srgbClr>
            </a:outerShdw>
          </a:effectLst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effectLst>
            <a:outerShdw blurRad="50800" dist="38100" dir="2700000" algn="tl" rotWithShape="0">
              <a:srgbClr val="000000">
                <a:alpha val="48000"/>
              </a:srgbClr>
            </a:outerShdw>
          </a:effectLst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0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43296A-53C3-4024-9739-AD11018A41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8155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43296A-53C3-4024-9739-AD11018A41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55CB3CE-D5D3-4261-B192-9854C8F873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573205"/>
            <a:ext cx="9144000" cy="1755849"/>
          </a:xfrm>
        </p:spPr>
        <p:txBody>
          <a:bodyPr vert="horz"/>
          <a:lstStyle/>
          <a:p>
            <a:r>
              <a:rPr lang="sv-SE" dirty="0"/>
              <a:t>Föräldramöte Sirius P12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A081671-4DD4-449D-9FB8-CFDEA35BB1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2601119"/>
            <a:ext cx="9144000" cy="1655762"/>
          </a:xfrm>
        </p:spPr>
        <p:txBody>
          <a:bodyPr>
            <a:normAutofit/>
          </a:bodyPr>
          <a:lstStyle/>
          <a:p>
            <a:r>
              <a:rPr lang="sv-SE" sz="3600" dirty="0"/>
              <a:t>Säsongen 2023/24</a:t>
            </a:r>
          </a:p>
          <a:p>
            <a:endParaRPr lang="sv-SE" dirty="0"/>
          </a:p>
          <a:p>
            <a:endParaRPr lang="sv-S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252887B-1023-4B54-BB23-CD7236F319B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60961" y="4107976"/>
            <a:ext cx="1582003" cy="2043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40336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5BF396E-D655-4224-8AB2-FCDEB2D2391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15401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5" imgW="499" imgH="499" progId="TCLayout.ActiveDocument.1">
                  <p:embed/>
                </p:oleObj>
              </mc:Choice>
              <mc:Fallback>
                <p:oleObj name="think-cell Slide" r:id="rId5" imgW="499" imgH="49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BF396E-D655-4224-8AB2-FCDEB2D239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55CB3CE-D5D3-4261-B192-9854C8F873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95269" y="238637"/>
            <a:ext cx="9001462" cy="957832"/>
          </a:xfrm>
        </p:spPr>
        <p:txBody>
          <a:bodyPr vert="horz">
            <a:normAutofit/>
          </a:bodyPr>
          <a:lstStyle/>
          <a:p>
            <a:pPr algn="l"/>
            <a:r>
              <a:rPr lang="sv-SE" sz="4900" dirty="0"/>
              <a:t>Fysträn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A081671-4DD4-449D-9FB8-CFDEA35BB1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95269" y="2421506"/>
            <a:ext cx="9001462" cy="1655762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sv-SE" dirty="0"/>
              <a:t>Under ordinarie träningstid (måndagar)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sv-SE" dirty="0" err="1"/>
              <a:t>Fys</a:t>
            </a:r>
            <a:r>
              <a:rPr lang="sv-SE" dirty="0"/>
              <a:t> utomhus</a:t>
            </a:r>
          </a:p>
        </p:txBody>
      </p:sp>
    </p:spTree>
    <p:extLst>
      <p:ext uri="{BB962C8B-B14F-4D97-AF65-F5344CB8AC3E}">
        <p14:creationId xmlns:p14="http://schemas.microsoft.com/office/powerpoint/2010/main" val="19945419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6E914C4-D038-48C1-8682-ADC78C3BD25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9755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6E914C4-D038-48C1-8682-ADC78C3BD2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55CB3CE-D5D3-4261-B192-9854C8F873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32639"/>
            <a:ext cx="9144000" cy="1001894"/>
          </a:xfrm>
        </p:spPr>
        <p:txBody>
          <a:bodyPr vert="horz">
            <a:normAutofit/>
          </a:bodyPr>
          <a:lstStyle/>
          <a:p>
            <a:pPr algn="l"/>
            <a:r>
              <a:rPr lang="sv-SE" sz="4900" dirty="0"/>
              <a:t>Serier + kallelser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A081671-4DD4-449D-9FB8-CFDEA35BB1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2160546"/>
            <a:ext cx="9144000" cy="4233580"/>
          </a:xfrm>
        </p:spPr>
        <p:txBody>
          <a:bodyPr>
            <a:normAutofit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sv-SE" dirty="0"/>
              <a:t>Rekomendation för P12 säsongen 2023/24 är 4-mot-4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sv-SE" dirty="0"/>
              <a:t>Vi försöker att sprida ut matcherna på lördagar och söndagar</a:t>
            </a:r>
            <a:endParaRPr lang="sv-SE" dirty="0">
              <a:effectLst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sv-SE" dirty="0"/>
              <a:t>Totalt 44 matcher exkl. cuper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sv-SE" dirty="0"/>
              <a:t>Ca fyra veckors framförhållning gällande kallelser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sv-SE" dirty="0"/>
              <a:t>Svara gärna så fort ni kan för enklare planering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sv-SE" dirty="0"/>
              <a:t>Önskemål vid speciella tillfällen / planerad frånvaro</a:t>
            </a:r>
          </a:p>
        </p:txBody>
      </p:sp>
    </p:spTree>
    <p:extLst>
      <p:ext uri="{BB962C8B-B14F-4D97-AF65-F5344CB8AC3E}">
        <p14:creationId xmlns:p14="http://schemas.microsoft.com/office/powerpoint/2010/main" val="31390178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FD166A8-557C-42F6-A236-EFFA883C058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4692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Slide" r:id="rId5" imgW="499" imgH="499" progId="TCLayout.ActiveDocument.1">
                  <p:embed/>
                </p:oleObj>
              </mc:Choice>
              <mc:Fallback>
                <p:oleObj name="think-cell Slide" r:id="rId5" imgW="499" imgH="499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D166A8-557C-42F6-A236-EFFA883C05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AA081671-4DD4-449D-9FB8-CFDEA35BB1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13881" y="228600"/>
            <a:ext cx="9144000" cy="964847"/>
          </a:xfrm>
        </p:spPr>
        <p:txBody>
          <a:bodyPr>
            <a:noAutofit/>
          </a:bodyPr>
          <a:lstStyle/>
          <a:p>
            <a:pPr algn="l"/>
            <a:r>
              <a:rPr lang="sv-SE" sz="4900" b="1" dirty="0">
                <a:latin typeface="+mj-lt"/>
              </a:rPr>
              <a:t>Spelschema just nu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715FE9A-FD76-41D3-9E50-6AE5EB52881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1526" y="1409699"/>
            <a:ext cx="10582274" cy="5219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15073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6895D5D-64D4-4569-806D-22F1D34865C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4508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5" imgW="499" imgH="499" progId="TCLayout.ActiveDocument.1">
                  <p:embed/>
                </p:oleObj>
              </mc:Choice>
              <mc:Fallback>
                <p:oleObj name="think-cell Slide" r:id="rId5" imgW="499" imgH="49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895D5D-64D4-4569-806D-22F1D34865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9B04B38-7165-4DF0-AB3D-2DDD4FF471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7869" y="559212"/>
            <a:ext cx="8717439" cy="701147"/>
          </a:xfrm>
        </p:spPr>
        <p:txBody>
          <a:bodyPr vert="horz">
            <a:noAutofit/>
          </a:bodyPr>
          <a:lstStyle/>
          <a:p>
            <a:pPr algn="l"/>
            <a:r>
              <a:rPr lang="sv-SE" sz="4900" dirty="0"/>
              <a:t>Spelregler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8C0AAA-02C6-4F72-A206-E3A28B1581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47538" y="1949225"/>
            <a:ext cx="5092608" cy="4491621"/>
          </a:xfrm>
          <a:ln>
            <a:solidFill>
              <a:schemeClr val="tx1"/>
            </a:solidFill>
          </a:ln>
        </p:spPr>
        <p:txBody>
          <a:bodyPr>
            <a:norm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sv-SE" sz="2400" u="sng" dirty="0"/>
              <a:t>Vi gör </a:t>
            </a:r>
          </a:p>
          <a:p>
            <a:pPr marL="0" indent="0">
              <a:spcBef>
                <a:spcPts val="0"/>
              </a:spcBef>
              <a:buNone/>
            </a:pPr>
            <a:endParaRPr lang="sv-SE" sz="12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sv-SE" sz="1400" dirty="0"/>
              <a:t>Alla hjälper till att bygga/riva sarg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sv-SE" sz="14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sv-SE" sz="1400" dirty="0"/>
              <a:t>Vi lägger västarna och målvaktsutrustningen i väskan efter träningen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sv-SE" sz="14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sv-SE" sz="1400" dirty="0"/>
              <a:t>Vi ansvarar för vår egen utrustning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sv-SE" sz="14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sv-SE" sz="1400" dirty="0"/>
              <a:t>Vi räcker upp handen om man vill prata under genomgången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sv-SE" sz="14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sv-SE" sz="1400" dirty="0"/>
              <a:t>Vi är positiva mot varandra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sv-SE" sz="14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sv-SE" sz="1400" dirty="0"/>
              <a:t>Vi respekterar laguttagningar och positioner -&gt; match </a:t>
            </a:r>
            <a:r>
              <a:rPr lang="sv-SE" sz="1400"/>
              <a:t>&amp; träningar</a:t>
            </a:r>
            <a:endParaRPr lang="sv-SE" sz="1400" dirty="0"/>
          </a:p>
          <a:p>
            <a:pPr marL="0" indent="0">
              <a:buNone/>
            </a:pPr>
            <a:endParaRPr lang="sv-SE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27441E29-3AED-4176-87A7-15F09548A0B8}"/>
              </a:ext>
            </a:extLst>
          </p:cNvPr>
          <p:cNvSpPr txBox="1">
            <a:spLocks/>
          </p:cNvSpPr>
          <p:nvPr/>
        </p:nvSpPr>
        <p:spPr>
          <a:xfrm>
            <a:off x="5752265" y="2096064"/>
            <a:ext cx="3637577" cy="36951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effectLst>
                  <a:outerShdw blurRad="50800" dist="38100" dir="2700000" algn="tl" rotWithShape="0">
                    <a:srgbClr val="000000">
                      <a:alpha val="48000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effectLst>
                  <a:outerShdw blurRad="50800" dist="38100" dir="2700000" algn="tl" rotWithShape="0">
                    <a:srgbClr val="000000">
                      <a:alpha val="48000"/>
                    </a:srgbClr>
                  </a:outerShdw>
                </a:effectLst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effectLst>
                  <a:outerShdw blurRad="50800" dist="38100" dir="2700000" algn="tl" rotWithShape="0">
                    <a:srgbClr val="000000">
                      <a:alpha val="48000"/>
                    </a:srgbClr>
                  </a:outerShdw>
                </a:effectLst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effectLst>
                  <a:outerShdw blurRad="50800" dist="38100" dir="2700000" algn="tl" rotWithShape="0">
                    <a:srgbClr val="000000">
                      <a:alpha val="48000"/>
                    </a:srgbClr>
                  </a:outerShdw>
                </a:effectLst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>
                  <a:outerShdw blurRad="50800" dist="38100" dir="2700000" algn="tl" rotWithShape="0">
                    <a:srgbClr val="000000">
                      <a:alpha val="48000"/>
                    </a:srgbClr>
                  </a:outerShdw>
                </a:effectLst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>
                  <a:outerShdw blurRad="50800" dist="38100" dir="2700000" algn="tl" rotWithShape="0">
                    <a:srgbClr val="000000">
                      <a:alpha val="48000"/>
                    </a:srgbClr>
                  </a:outerShdw>
                </a:effectLst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>
                  <a:outerShdw blurRad="50800" dist="38100" dir="2700000" algn="tl" rotWithShape="0">
                    <a:srgbClr val="000000">
                      <a:alpha val="48000"/>
                    </a:srgbClr>
                  </a:outerShdw>
                </a:effectLst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>
                  <a:outerShdw blurRad="50800" dist="38100" dir="2700000" algn="tl" rotWithShape="0">
                    <a:srgbClr val="000000">
                      <a:alpha val="48000"/>
                    </a:srgbClr>
                  </a:outerShdw>
                </a:effectLst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effectLst>
                  <a:outerShdw blurRad="50800" dist="38100" dir="2700000" algn="tl" rotWithShape="0">
                    <a:srgbClr val="000000">
                      <a:alpha val="48000"/>
                    </a:srgb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sv-SE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6F4D1A5-4599-4347-9E18-1088C8A99C09}"/>
              </a:ext>
            </a:extLst>
          </p:cNvPr>
          <p:cNvSpPr txBox="1"/>
          <p:nvPr/>
        </p:nvSpPr>
        <p:spPr>
          <a:xfrm>
            <a:off x="6438623" y="1949225"/>
            <a:ext cx="5092607" cy="446276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sv-SE" sz="2400" u="sng" dirty="0"/>
              <a:t>Vi gör inte </a:t>
            </a:r>
          </a:p>
          <a:p>
            <a:pPr marL="0" indent="0">
              <a:buNone/>
            </a:pPr>
            <a:endParaRPr lang="sv-SE" sz="1100" dirty="0"/>
          </a:p>
          <a:p>
            <a:pPr marL="0" indent="0">
              <a:buNone/>
            </a:pPr>
            <a:endParaRPr lang="sv-SE" sz="1100" dirty="0"/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sz="1400" dirty="0"/>
              <a:t>Ingen får vara på planen utan glasögon 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sv-SE" sz="1400" dirty="0"/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sz="1400" dirty="0"/>
              <a:t>Inga bollar innan sargen är uppbyggd 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sv-SE" sz="1400" dirty="0"/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sz="1400" dirty="0"/>
              <a:t>Ingen skjuter under vattenpausen eller när tränarna blåst i visselpipan 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sv-SE" sz="1400" dirty="0"/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sz="1400" dirty="0"/>
              <a:t>Vi kastar inte klubbor eller slår med klubbor i sargen/golvet 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sv-SE" sz="1400" dirty="0"/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sz="1400" dirty="0"/>
              <a:t>Vi klagar inte på varandra   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sv-SE" sz="1400" dirty="0"/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sz="1400" dirty="0"/>
              <a:t>Vi slåss inte 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sv-SE" sz="1400" dirty="0"/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sz="1400" dirty="0"/>
              <a:t>Vi klagar inte på domslut 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sv-SE" sz="1400" dirty="0"/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sv-SE" sz="1400" dirty="0"/>
          </a:p>
        </p:txBody>
      </p:sp>
    </p:spTree>
    <p:extLst>
      <p:ext uri="{BB962C8B-B14F-4D97-AF65-F5344CB8AC3E}">
        <p14:creationId xmlns:p14="http://schemas.microsoft.com/office/powerpoint/2010/main" val="30842400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794DDC-BA75-4321-8E22-B4D3ABDC61B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1182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794DDC-BA75-4321-8E22-B4D3ABDC61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55CB3CE-D5D3-4261-B192-9854C8F873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57102"/>
            <a:ext cx="9144000" cy="909376"/>
          </a:xfrm>
        </p:spPr>
        <p:txBody>
          <a:bodyPr vert="horz">
            <a:normAutofit/>
          </a:bodyPr>
          <a:lstStyle/>
          <a:p>
            <a:pPr algn="l"/>
            <a:r>
              <a:rPr lang="sv-SE" sz="4900" dirty="0"/>
              <a:t>Mål för säsonge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A081671-4DD4-449D-9FB8-CFDEA35BB1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784811"/>
            <a:ext cx="9144000" cy="4533406"/>
          </a:xfrm>
        </p:spPr>
        <p:txBody>
          <a:bodyPr>
            <a:normAutofit/>
          </a:bodyPr>
          <a:lstStyle/>
          <a:p>
            <a:pPr algn="l"/>
            <a:r>
              <a:rPr lang="sv-SE" dirty="0"/>
              <a:t>-Fortsätta bygga sammanhållning i laget</a:t>
            </a:r>
          </a:p>
          <a:p>
            <a:pPr algn="l"/>
            <a:r>
              <a:rPr lang="sv-SE" dirty="0"/>
              <a:t>-Samma förutsättningar gällande kallelser</a:t>
            </a:r>
          </a:p>
          <a:p>
            <a:pPr algn="l"/>
            <a:r>
              <a:rPr lang="sv-SE" dirty="0"/>
              <a:t>-Individuell utveckling</a:t>
            </a:r>
          </a:p>
          <a:p>
            <a:pPr algn="l"/>
            <a:endParaRPr lang="sv-SE" dirty="0"/>
          </a:p>
          <a:p>
            <a:pPr algn="l"/>
            <a:r>
              <a:rPr lang="sv-SE" dirty="0"/>
              <a:t>		</a:t>
            </a:r>
            <a:r>
              <a:rPr lang="sv-SE" sz="6600" dirty="0"/>
              <a:t>=</a:t>
            </a:r>
            <a:r>
              <a:rPr lang="sv-SE" dirty="0"/>
              <a:t>	</a:t>
            </a:r>
          </a:p>
          <a:p>
            <a:pPr algn="l"/>
            <a:r>
              <a:rPr lang="sv-SE" dirty="0"/>
              <a:t>-Inget placeringsmål i tabellerna men endast vinst som räknas</a:t>
            </a:r>
            <a:r>
              <a:rPr lang="sv-SE" dirty="0">
                <a:sym typeface="Wingdings" panose="05000000000000000000" pitchFamily="2" charset="2"/>
              </a:rPr>
              <a:t>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3226063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87FD222-2A21-438A-8E97-EDE8B2A0D4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6366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87FD222-2A21-438A-8E97-EDE8B2A0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55CB3CE-D5D3-4261-B192-9854C8F873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33722"/>
            <a:ext cx="9144000" cy="958974"/>
          </a:xfrm>
        </p:spPr>
        <p:txBody>
          <a:bodyPr vert="horz">
            <a:normAutofit/>
          </a:bodyPr>
          <a:lstStyle/>
          <a:p>
            <a:pPr algn="l"/>
            <a:r>
              <a:rPr lang="sv-SE" sz="4900" dirty="0"/>
              <a:t>Cuper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A081671-4DD4-449D-9FB8-CFDEA35BB1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2100409"/>
            <a:ext cx="9144000" cy="1655762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l"/>
            <a:r>
              <a:rPr lang="sv-SE" dirty="0"/>
              <a:t>-Storvreta cupen i januari (kostnad ca 10000 kr)</a:t>
            </a:r>
          </a:p>
          <a:p>
            <a:pPr algn="l"/>
            <a:r>
              <a:rPr lang="sv-SE" dirty="0"/>
              <a:t>-Cup (övernattning) slutet av säsongen (kostnad ca 30 000-35000 kr</a:t>
            </a:r>
          </a:p>
        </p:txBody>
      </p:sp>
    </p:spTree>
    <p:extLst>
      <p:ext uri="{BB962C8B-B14F-4D97-AF65-F5344CB8AC3E}">
        <p14:creationId xmlns:p14="http://schemas.microsoft.com/office/powerpoint/2010/main" val="677572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F2A94D8-E43B-415C-B5E9-825CB818317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0824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F2A94D8-E43B-415C-B5E9-825CB81831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55CB3CE-D5D3-4261-B192-9854C8F873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13360" y="380444"/>
            <a:ext cx="11673840" cy="914152"/>
          </a:xfrm>
        </p:spPr>
        <p:txBody>
          <a:bodyPr vert="horz">
            <a:normAutofit fontScale="90000"/>
          </a:bodyPr>
          <a:lstStyle/>
          <a:p>
            <a:pPr algn="l"/>
            <a:r>
              <a:rPr lang="sv-SE" sz="5400" dirty="0"/>
              <a:t>Ekonomi – och  försäljning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A081671-4DD4-449D-9FB8-CFDEA35BB1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52500" y="1733550"/>
            <a:ext cx="9144000" cy="4181475"/>
          </a:xfrm>
        </p:spPr>
        <p:txBody>
          <a:bodyPr vert="horz" lIns="91440" tIns="45720" rIns="91440" bIns="45720" rtlCol="0" anchor="t">
            <a:normAutofit fontScale="92500" lnSpcReduction="10000"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sv-SE" b="1" dirty="0"/>
              <a:t>Lagkassan</a:t>
            </a:r>
            <a:r>
              <a:rPr lang="sv-SE" dirty="0"/>
              <a:t> – Vi har ca 25000kr i kassan.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sv-SE" b="1" dirty="0"/>
              <a:t>Försäljningar genom Sirius</a:t>
            </a:r>
            <a:r>
              <a:rPr lang="sv-SE" dirty="0"/>
              <a:t> – Vi måste utföra 3 försäljningar/säsong genom Sirius som förening. Det är Klubbrabatten * 2st och Bingolotter till Uppesittarkvällen vid jul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sv-SE" b="1" dirty="0"/>
              <a:t>Egna försäljningar</a:t>
            </a:r>
            <a:r>
              <a:rPr lang="sv-SE" dirty="0"/>
              <a:t> – Vi önskar att vi kan hålla i minst 2st "egna" försäljningar, då dessa ger mycket mer till vår Lagkassa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sv-SE" b="1" dirty="0"/>
              <a:t>Stipendiumansökningar </a:t>
            </a:r>
            <a:r>
              <a:rPr lang="sv-SE" dirty="0"/>
              <a:t>- Vi har under de senaste 3 åren lyckats få stipendium på 10 000kr*2 (2 av 3 år), och vi fortsätter att söka det vi hittar. Om ni har några förslag på vart vi kan söka, så är det bara att säga till :)</a:t>
            </a:r>
          </a:p>
          <a:p>
            <a:pPr algn="l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75823977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4CC819B-192A-412F-9606-0C4E17341D7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9765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think-cell Slide" r:id="rId5" imgW="499" imgH="499" progId="TCLayout.ActiveDocument.1">
                  <p:embed/>
                </p:oleObj>
              </mc:Choice>
              <mc:Fallback>
                <p:oleObj name="think-cell Slide" r:id="rId5" imgW="499" imgH="49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4CC819B-192A-412F-9606-0C4E17341D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7ADA209-6873-4884-9FF8-99F277C39A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sv-SE" sz="4800" dirty="0"/>
              <a:t>ÖVRIGT</a:t>
            </a:r>
            <a:endParaRPr lang="en-US" sz="48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E3DBB2-2F28-4135-8265-05C6EE378B8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 lnSpcReduction="10000"/>
          </a:bodyPr>
          <a:lstStyle/>
          <a:p>
            <a:pPr marL="0" indent="0">
              <a:buNone/>
            </a:pPr>
            <a:r>
              <a:rPr lang="sv-SE" sz="2400" dirty="0"/>
              <a:t>Innebandyfesten</a:t>
            </a:r>
            <a:endParaRPr lang="en-US" sz="2400" dirty="0"/>
          </a:p>
          <a:p>
            <a:pPr marL="0" indent="0">
              <a:buNone/>
            </a:pPr>
            <a:r>
              <a:rPr lang="sv-SE" sz="2400" dirty="0"/>
              <a:t>Matchvärdar</a:t>
            </a:r>
          </a:p>
          <a:p>
            <a:pPr marL="0" indent="0">
              <a:buNone/>
            </a:pPr>
            <a:r>
              <a:rPr lang="sv-SE" sz="2400" dirty="0"/>
              <a:t>Målvaktsträning</a:t>
            </a:r>
          </a:p>
          <a:p>
            <a:pPr marL="0" indent="0">
              <a:buNone/>
            </a:pPr>
            <a:r>
              <a:rPr lang="sv-SE" sz="2400" dirty="0"/>
              <a:t>Sekretariatet </a:t>
            </a:r>
          </a:p>
          <a:p>
            <a:pPr marL="0" indent="0">
              <a:buNone/>
            </a:pPr>
            <a:r>
              <a:rPr lang="sv-SE" sz="2400" dirty="0"/>
              <a:t>Avanmälning inför matcher</a:t>
            </a:r>
          </a:p>
          <a:p>
            <a:pPr marL="0" indent="0">
              <a:buNone/>
            </a:pPr>
            <a:r>
              <a:rPr lang="sv-SE" sz="2400" dirty="0"/>
              <a:t>Bälingematchen 8:e oktober! Byta till 7:e?</a:t>
            </a:r>
          </a:p>
          <a:p>
            <a:pPr marL="0" indent="0">
              <a:buNone/>
            </a:pPr>
            <a:r>
              <a:rPr lang="sv-SE" sz="2400" dirty="0"/>
              <a:t>Bidrag från RF</a:t>
            </a:r>
          </a:p>
          <a:p>
            <a:pPr marL="0" indent="0">
              <a:buNone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6757694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9AC833-C38B-4C4F-A5CA-A64F8CC524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4698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9AC833-C38B-4C4F-A5CA-A64F8CC524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55CB3CE-D5D3-4261-B192-9854C8F873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483141"/>
            <a:ext cx="9144000" cy="1362382"/>
          </a:xfrm>
        </p:spPr>
        <p:txBody>
          <a:bodyPr vert="horz">
            <a:noAutofit/>
          </a:bodyPr>
          <a:lstStyle/>
          <a:p>
            <a:r>
              <a:rPr lang="sv-SE" sz="9600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190278440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EA2D847-CA74-435F-A5F4-2795F9872A0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8448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EA2D847-CA74-435F-A5F4-2795F9872A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55CB3CE-D5D3-4261-B192-9854C8F873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637562"/>
            <a:ext cx="9144000" cy="1051989"/>
          </a:xfrm>
        </p:spPr>
        <p:txBody>
          <a:bodyPr vert="horz">
            <a:normAutofit/>
          </a:bodyPr>
          <a:lstStyle/>
          <a:p>
            <a:pPr algn="l"/>
            <a:endParaRPr lang="sv-SE" sz="54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A081671-4DD4-449D-9FB8-CFDEA35BB1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2167521"/>
            <a:ext cx="9144000" cy="1655762"/>
          </a:xfrm>
        </p:spPr>
        <p:txBody>
          <a:bodyPr/>
          <a:lstStyle/>
          <a:p>
            <a:pPr algn="l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2403355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4B6B756-12C2-442A-BF86-5DD92FEEC7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5293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4B6B756-12C2-442A-BF86-5DD92FEEC7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55CB3CE-D5D3-4261-B192-9854C8F873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75934" y="356564"/>
            <a:ext cx="9144000" cy="904846"/>
          </a:xfrm>
        </p:spPr>
        <p:txBody>
          <a:bodyPr vert="horz">
            <a:normAutofit/>
          </a:bodyPr>
          <a:lstStyle/>
          <a:p>
            <a:pPr algn="l"/>
            <a:r>
              <a:rPr lang="sv-SE" sz="4900" dirty="0"/>
              <a:t>Agenda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A081671-4DD4-449D-9FB8-CFDEA35BB1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75934" y="1571625"/>
            <a:ext cx="9144000" cy="4787055"/>
          </a:xfrm>
        </p:spPr>
        <p:txBody>
          <a:bodyPr vert="horz" lIns="91440" tIns="45720" rIns="91440" bIns="45720" rtlCol="0" anchor="t">
            <a:normAutofit fontScale="62500" lnSpcReduction="20000"/>
          </a:bodyPr>
          <a:lstStyle/>
          <a:p>
            <a:pPr algn="l"/>
            <a:r>
              <a:rPr lang="sv-SE" dirty="0"/>
              <a:t>Presentationsrunda</a:t>
            </a:r>
          </a:p>
          <a:p>
            <a:pPr algn="l"/>
            <a:r>
              <a:rPr lang="sv-SE" dirty="0"/>
              <a:t>Laget</a:t>
            </a:r>
          </a:p>
          <a:p>
            <a:pPr algn="l"/>
            <a:r>
              <a:rPr lang="sv-SE" dirty="0"/>
              <a:t>Summering säsongen 2022/23</a:t>
            </a:r>
          </a:p>
          <a:p>
            <a:pPr algn="l"/>
            <a:r>
              <a:rPr lang="sv-SE" dirty="0"/>
              <a:t>Utvärdering &amp; plan 2023/24</a:t>
            </a:r>
          </a:p>
          <a:p>
            <a:pPr algn="l"/>
            <a:r>
              <a:rPr lang="sv-SE" dirty="0"/>
              <a:t>Träningstider</a:t>
            </a:r>
          </a:p>
          <a:p>
            <a:pPr algn="l"/>
            <a:r>
              <a:rPr lang="sv-SE" dirty="0">
                <a:cs typeface="Calibri"/>
              </a:rPr>
              <a:t>Fysträning</a:t>
            </a:r>
            <a:endParaRPr lang="sv-SE" dirty="0"/>
          </a:p>
          <a:p>
            <a:pPr algn="l"/>
            <a:r>
              <a:rPr lang="sv-SE" dirty="0"/>
              <a:t>Serier + kallelser</a:t>
            </a:r>
          </a:p>
          <a:p>
            <a:pPr algn="l"/>
            <a:r>
              <a:rPr lang="sv-SE" dirty="0"/>
              <a:t>Spelregler</a:t>
            </a:r>
          </a:p>
          <a:p>
            <a:pPr algn="l"/>
            <a:r>
              <a:rPr lang="sv-SE" dirty="0"/>
              <a:t>Mål för säsongen</a:t>
            </a:r>
          </a:p>
          <a:p>
            <a:pPr algn="l"/>
            <a:r>
              <a:rPr lang="sv-SE" dirty="0"/>
              <a:t>Cuper</a:t>
            </a:r>
          </a:p>
          <a:p>
            <a:pPr algn="l"/>
            <a:r>
              <a:rPr lang="sv-SE" dirty="0"/>
              <a:t>Övrigt</a:t>
            </a:r>
          </a:p>
          <a:p>
            <a:pPr algn="l"/>
            <a:r>
              <a:rPr lang="sv-SE" dirty="0"/>
              <a:t>Ekonomi + försäljning</a:t>
            </a:r>
          </a:p>
          <a:p>
            <a:pPr algn="l"/>
            <a:r>
              <a:rPr lang="sv-SE" dirty="0"/>
              <a:t>Q&amp;A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4C55DF1-7870-4B0A-B9FF-003B58675CD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33440" y="2147582"/>
            <a:ext cx="4945917" cy="3496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7190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E91FD0B-2D96-4D02-92B7-83B56D84E9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0856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E91FD0B-2D96-4D02-92B7-83B56D84E9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55CB3CE-D5D3-4261-B192-9854C8F873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38409"/>
            <a:ext cx="9144000" cy="867431"/>
          </a:xfrm>
        </p:spPr>
        <p:txBody>
          <a:bodyPr vert="horz">
            <a:normAutofit/>
          </a:bodyPr>
          <a:lstStyle/>
          <a:p>
            <a:pPr algn="l"/>
            <a:r>
              <a:rPr lang="sv-SE" sz="4900" dirty="0"/>
              <a:t>Laget 2023/24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A081671-4DD4-449D-9FB8-CFDEA35BB1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2159131"/>
            <a:ext cx="9144000" cy="4300391"/>
          </a:xfrm>
        </p:spPr>
        <p:txBody>
          <a:bodyPr vert="horz" lIns="91440" tIns="45720" rIns="91440" bIns="45720" rtlCol="0" anchor="t">
            <a:normAutofit lnSpcReduction="10000"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sv-SE" dirty="0"/>
              <a:t>Två spelare har slutat från föregående säsong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sv-SE" dirty="0"/>
              <a:t>Tim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sv-SE" dirty="0"/>
              <a:t>Taym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sv-SE" dirty="0"/>
              <a:t>Två nya spelare har börjat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sv-SE" dirty="0"/>
              <a:t>Elliot Törnros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sv-SE" dirty="0"/>
              <a:t>Moltas Sjöström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sv-SE" dirty="0"/>
              <a:t>Målvakt provtränar (Lennox)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sv-SE" dirty="0"/>
              <a:t>Totalt 23/24 spelare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sv-SE" dirty="0"/>
              <a:t>Positioner </a:t>
            </a:r>
          </a:p>
        </p:txBody>
      </p:sp>
    </p:spTree>
    <p:extLst>
      <p:ext uri="{BB962C8B-B14F-4D97-AF65-F5344CB8AC3E}">
        <p14:creationId xmlns:p14="http://schemas.microsoft.com/office/powerpoint/2010/main" val="18139833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DCBB135-F1BF-42C9-A776-A961780EE33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1460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DCBB135-F1BF-42C9-A776-A961780EE3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55CB3CE-D5D3-4261-B192-9854C8F873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532514"/>
            <a:ext cx="9144000" cy="1354242"/>
          </a:xfrm>
        </p:spPr>
        <p:txBody>
          <a:bodyPr vert="horz">
            <a:normAutofit fontScale="90000"/>
          </a:bodyPr>
          <a:lstStyle/>
          <a:p>
            <a:pPr algn="l"/>
            <a:r>
              <a:rPr lang="sv-SE" sz="5400" dirty="0"/>
              <a:t>Summering säsongen 2022/23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A081671-4DD4-449D-9FB8-CFDEA35BB1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988190"/>
            <a:ext cx="9144000" cy="4630973"/>
          </a:xfrm>
        </p:spPr>
        <p:txBody>
          <a:bodyPr>
            <a:normAutofit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sv-SE" dirty="0"/>
              <a:t>Otroligt rolig säsong där samtliga spelare utvecklats 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sv-SE" dirty="0"/>
          </a:p>
          <a:p>
            <a:pPr algn="l"/>
            <a:r>
              <a:rPr lang="sv-SE" sz="3200" u="sng" dirty="0"/>
              <a:t>Utvärdering: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sv-SE" dirty="0"/>
              <a:t>Endast 5-mot-5 säsongen 2023/24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sv-SE" dirty="0"/>
              <a:t>Cuper avsedda för P12 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sv-SE" dirty="0"/>
              <a:t>Behovet ändras då barnen blir äldre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sv-SE" dirty="0"/>
              <a:t>Mer planering, mindre omhändertagande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sv-SE" dirty="0"/>
              <a:t>Behov av strukturändring säsongen 2023/24</a:t>
            </a:r>
          </a:p>
          <a:p>
            <a:pPr algn="l"/>
            <a:endParaRPr lang="sv-SE" dirty="0"/>
          </a:p>
          <a:p>
            <a:pPr algn="l"/>
            <a:endParaRPr lang="sv-SE" dirty="0"/>
          </a:p>
          <a:p>
            <a:pPr algn="l"/>
            <a:endParaRPr lang="sv-SE" dirty="0"/>
          </a:p>
          <a:p>
            <a:pPr algn="l"/>
            <a:endParaRPr lang="sv-SE" dirty="0"/>
          </a:p>
          <a:p>
            <a:pPr algn="l"/>
            <a:endParaRPr lang="sv-SE" dirty="0"/>
          </a:p>
          <a:p>
            <a:pPr algn="l"/>
            <a:endParaRPr lang="sv-SE" dirty="0"/>
          </a:p>
          <a:p>
            <a:pPr algn="l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784493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9F1D0D4-BD42-476A-9F07-36B7789590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5909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9F1D0D4-BD42-476A-9F07-36B7789590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55CB3CE-D5D3-4261-B192-9854C8F873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567328"/>
            <a:ext cx="9482919" cy="1374137"/>
          </a:xfrm>
        </p:spPr>
        <p:txBody>
          <a:bodyPr vert="horz">
            <a:noAutofit/>
          </a:bodyPr>
          <a:lstStyle/>
          <a:p>
            <a:pPr algn="l"/>
            <a:r>
              <a:rPr lang="sv-SE" sz="4900" dirty="0"/>
              <a:t>Utvärdering &amp; plan 2023/24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A081671-4DD4-449D-9FB8-CFDEA35BB1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2259800"/>
            <a:ext cx="9144000" cy="1655762"/>
          </a:xfrm>
        </p:spPr>
        <p:txBody>
          <a:bodyPr>
            <a:normAutofit/>
          </a:bodyPr>
          <a:lstStyle/>
          <a:p>
            <a:pPr algn="l"/>
            <a:r>
              <a:rPr lang="sv-SE" dirty="0"/>
              <a:t>2. Skapat struktur kring </a:t>
            </a:r>
            <a:r>
              <a:rPr lang="sv-SE" u="sng" dirty="0"/>
              <a:t>HUR</a:t>
            </a:r>
            <a:r>
              <a:rPr lang="sv-SE" dirty="0"/>
              <a:t> vi ska bedriva träningar och matcher </a:t>
            </a:r>
          </a:p>
          <a:p>
            <a:pPr lvl="1" algn="l"/>
            <a:r>
              <a:rPr lang="sv-SE" dirty="0"/>
              <a:t>	 	</a:t>
            </a: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4770143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F12649B-2DD3-4CBA-B33E-0BDEE4BB191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3779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F12649B-2DD3-4CBA-B33E-0BDEE4BB19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55CB3CE-D5D3-4261-B192-9854C8F873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500307"/>
            <a:ext cx="9144000" cy="1432676"/>
          </a:xfrm>
        </p:spPr>
        <p:txBody>
          <a:bodyPr vert="horz">
            <a:normAutofit fontScale="90000"/>
          </a:bodyPr>
          <a:lstStyle/>
          <a:p>
            <a:pPr algn="l"/>
            <a:r>
              <a:rPr lang="sv-SE" sz="5400" dirty="0"/>
              <a:t>Utvärdering &amp; plan 2023/24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A081671-4DD4-449D-9FB8-CFDEA35BB1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2217855"/>
            <a:ext cx="9144000" cy="4233280"/>
          </a:xfrm>
        </p:spPr>
        <p:txBody>
          <a:bodyPr>
            <a:normAutofit/>
          </a:bodyPr>
          <a:lstStyle/>
          <a:p>
            <a:pPr algn="l"/>
            <a:r>
              <a:rPr lang="sv-SE" dirty="0"/>
              <a:t>1. Definierat tränarroller efter behov och möjligheter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sv-SE" dirty="0"/>
              <a:t>Daniel &amp; Andreas huvudansvariga</a:t>
            </a:r>
          </a:p>
          <a:p>
            <a:pPr marL="1257300" lvl="2" indent="-342900" algn="l">
              <a:buFont typeface="Arial" panose="020B0604020202020204" pitchFamily="34" charset="0"/>
              <a:buChar char="•"/>
            </a:pPr>
            <a:r>
              <a:rPr lang="sv-SE" dirty="0"/>
              <a:t>Träningsupplägg</a:t>
            </a:r>
          </a:p>
          <a:p>
            <a:pPr marL="1257300" lvl="2" indent="-342900" algn="l">
              <a:buFont typeface="Arial" panose="020B0604020202020204" pitchFamily="34" charset="0"/>
              <a:buChar char="•"/>
            </a:pPr>
            <a:r>
              <a:rPr lang="sv-SE" dirty="0"/>
              <a:t>Kalla till matcher / IBIS</a:t>
            </a:r>
          </a:p>
          <a:p>
            <a:pPr marL="1257300" lvl="2" indent="-342900" algn="l">
              <a:buFont typeface="Arial" panose="020B0604020202020204" pitchFamily="34" charset="0"/>
              <a:buChar char="•"/>
            </a:pPr>
            <a:r>
              <a:rPr lang="sv-SE" dirty="0"/>
              <a:t>Genomföra träningar / matcher</a:t>
            </a:r>
          </a:p>
          <a:p>
            <a:pPr marL="1257300" lvl="2" indent="-342900" algn="l">
              <a:buFont typeface="Arial" panose="020B0604020202020204" pitchFamily="34" charset="0"/>
              <a:buChar char="•"/>
            </a:pPr>
            <a:r>
              <a:rPr lang="sv-SE" dirty="0"/>
              <a:t>Kontakt andra föreningar (Inkl. P13 &amp; P10/11)</a:t>
            </a:r>
          </a:p>
          <a:p>
            <a:pPr marL="1257300" lvl="2" indent="-342900" algn="l">
              <a:buFont typeface="Arial" panose="020B0604020202020204" pitchFamily="34" charset="0"/>
              <a:buChar char="•"/>
            </a:pPr>
            <a:endParaRPr lang="sv-SE" dirty="0"/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sv-SE" dirty="0"/>
              <a:t>Theo, Henrik &amp; Fredrik </a:t>
            </a:r>
          </a:p>
          <a:p>
            <a:pPr marL="1257300" lvl="2" indent="-342900" algn="l">
              <a:buFont typeface="Arial" panose="020B0604020202020204" pitchFamily="34" charset="0"/>
              <a:buChar char="•"/>
            </a:pPr>
            <a:r>
              <a:rPr lang="sv-SE" dirty="0"/>
              <a:t>Genomför träningar / matcher</a:t>
            </a:r>
          </a:p>
          <a:p>
            <a:pPr marL="1257300" lvl="2" indent="-342900" algn="l">
              <a:buFont typeface="Arial" panose="020B0604020202020204" pitchFamily="34" charset="0"/>
              <a:buChar char="•"/>
            </a:pPr>
            <a:r>
              <a:rPr lang="sv-SE" dirty="0"/>
              <a:t>Specialfokus vissa områden</a:t>
            </a:r>
          </a:p>
          <a:p>
            <a:pPr marL="1257300" lvl="2" indent="-342900" algn="l">
              <a:buFont typeface="Arial" panose="020B0604020202020204" pitchFamily="34" charset="0"/>
              <a:buChar char="•"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124130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D33E0CD-2BC6-4DD0-9CE7-453643B4854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3352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D33E0CD-2BC6-4DD0-9CE7-453643B485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E081893B-8215-442B-8057-EA25FA85589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66081" y="630270"/>
            <a:ext cx="6456028" cy="5597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67060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51BDA71-8411-4C9D-91E8-679FC1CE47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86797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5" imgW="499" imgH="499" progId="TCLayout.ActiveDocument.1">
                  <p:embed/>
                </p:oleObj>
              </mc:Choice>
              <mc:Fallback>
                <p:oleObj name="think-cell Slide" r:id="rId5" imgW="499" imgH="499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1BDA71-8411-4C9D-91E8-679FC1CE47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55CB3CE-D5D3-4261-B192-9854C8F873F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A081671-4DD4-449D-9FB8-CFDEA35BB16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sv-S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08D7777-0493-40F7-B3E3-543211EB0CE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14650" y="1137396"/>
            <a:ext cx="9689911" cy="4512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0974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EDD81DD-872E-47C8-9D44-13522588E1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42395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EDD81DD-872E-47C8-9D44-13522588E1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55CB3CE-D5D3-4261-B192-9854C8F873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46955"/>
            <a:ext cx="9144000" cy="970798"/>
          </a:xfrm>
        </p:spPr>
        <p:txBody>
          <a:bodyPr vert="horz">
            <a:normAutofit/>
          </a:bodyPr>
          <a:lstStyle/>
          <a:p>
            <a:pPr algn="l"/>
            <a:r>
              <a:rPr lang="sv-SE" sz="4900" dirty="0"/>
              <a:t>Träningstider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A081671-4DD4-449D-9FB8-CFDEA35BB1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2142354"/>
            <a:ext cx="9144000" cy="4157778"/>
          </a:xfrm>
        </p:spPr>
        <p:txBody>
          <a:bodyPr>
            <a:normAutofit fontScale="92500" lnSpcReduction="20000"/>
          </a:bodyPr>
          <a:lstStyle/>
          <a:p>
            <a:pPr algn="l"/>
            <a:r>
              <a:rPr lang="sv-SE" dirty="0"/>
              <a:t>I maj lämnade vi in våra önskningar för säsongen 2023/24, vilket var: </a:t>
            </a:r>
          </a:p>
          <a:p>
            <a:pPr marL="342900" indent="-34290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dirty="0"/>
              <a:t>Tisdagar &amp; torsdagar</a:t>
            </a:r>
          </a:p>
          <a:p>
            <a:pPr marL="342900" indent="-34290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dirty="0"/>
              <a:t>Tidigast 17:30</a:t>
            </a:r>
          </a:p>
          <a:p>
            <a:pPr marL="342900" indent="-34290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dirty="0"/>
              <a:t>90 min/träning</a:t>
            </a:r>
          </a:p>
          <a:p>
            <a:pPr marL="342900" indent="-34290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dirty="0"/>
              <a:t>IFU alt Gamlisskolan/Thunabergsskolan</a:t>
            </a:r>
          </a:p>
          <a:p>
            <a:pPr algn="l"/>
            <a:endParaRPr lang="sv-SE" dirty="0"/>
          </a:p>
          <a:p>
            <a:pPr algn="l">
              <a:spcBef>
                <a:spcPts val="0"/>
              </a:spcBef>
            </a:pPr>
            <a:r>
              <a:rPr lang="sv-SE" u="sng" dirty="0"/>
              <a:t>Resultat:</a:t>
            </a:r>
          </a:p>
          <a:p>
            <a:pPr marL="342900" indent="-34290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dirty="0"/>
              <a:t>Måndagar 19:15-20:30 (efter Jul 18:00-19:15)</a:t>
            </a:r>
          </a:p>
          <a:p>
            <a:pPr marL="342900" indent="-34290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dirty="0"/>
              <a:t>Onsdagar 17:30-18:30</a:t>
            </a:r>
          </a:p>
          <a:p>
            <a:pPr marL="342900" indent="-34290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dirty="0"/>
              <a:t>Samtliga i Tunabergsskolan</a:t>
            </a:r>
          </a:p>
          <a:p>
            <a:pPr marL="342900" indent="-342900" algn="l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dirty="0"/>
              <a:t>Kallelser endast vid specifika tillfällen -&gt; runt jul, lov osv</a:t>
            </a:r>
          </a:p>
        </p:txBody>
      </p:sp>
      <p:pic>
        <p:nvPicPr>
          <p:cNvPr id="8" name="Graphic 7" descr="Confused face with solid fill with solid fill">
            <a:extLst>
              <a:ext uri="{FF2B5EF4-FFF2-40B4-BE49-F238E27FC236}">
                <a16:creationId xmlns:a16="http://schemas.microsoft.com/office/drawing/2014/main" id="{004D0E75-618C-4092-85D2-F4A47EBEA77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938067" y="2619193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6716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14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Damask">
  <a:themeElements>
    <a:clrScheme name="Damask">
      <a:dk1>
        <a:sysClr val="windowText" lastClr="000000"/>
      </a:dk1>
      <a:lt1>
        <a:sysClr val="window" lastClr="FFFFFF"/>
      </a:lt1>
      <a:dk2>
        <a:srgbClr val="2A5B7F"/>
      </a:dk2>
      <a:lt2>
        <a:srgbClr val="ABDAFC"/>
      </a:lt2>
      <a:accent1>
        <a:srgbClr val="9EC544"/>
      </a:accent1>
      <a:accent2>
        <a:srgbClr val="50BEA3"/>
      </a:accent2>
      <a:accent3>
        <a:srgbClr val="4A9CCC"/>
      </a:accent3>
      <a:accent4>
        <a:srgbClr val="9A66CA"/>
      </a:accent4>
      <a:accent5>
        <a:srgbClr val="C54F71"/>
      </a:accent5>
      <a:accent6>
        <a:srgbClr val="DE9C3C"/>
      </a:accent6>
      <a:hlink>
        <a:srgbClr val="6BA9DA"/>
      </a:hlink>
      <a:folHlink>
        <a:srgbClr val="A0BCD3"/>
      </a:folHlink>
    </a:clrScheme>
    <a:fontScheme name="Damask">
      <a:majorFont>
        <a:latin typeface="Bookman Old Style" panose="0205060405050502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Rockwell" panose="02060603020205020403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Damask">
      <a:fillStyleLst>
        <a:solidFill>
          <a:schemeClr val="phClr"/>
        </a:solidFill>
        <a:gradFill rotWithShape="1">
          <a:gsLst>
            <a:gs pos="0">
              <a:schemeClr val="phClr">
                <a:tint val="48000"/>
                <a:satMod val="105000"/>
                <a:lumMod val="110000"/>
              </a:schemeClr>
            </a:gs>
            <a:gs pos="100000">
              <a:schemeClr val="phClr">
                <a:tint val="78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0000"/>
                <a:lumMod val="104000"/>
              </a:schemeClr>
            </a:gs>
            <a:gs pos="69000">
              <a:schemeClr val="phClr">
                <a:shade val="86000"/>
                <a:satMod val="130000"/>
                <a:lumMod val="102000"/>
              </a:schemeClr>
            </a:gs>
            <a:gs pos="100000">
              <a:schemeClr val="phClr">
                <a:shade val="72000"/>
                <a:satMod val="130000"/>
                <a:lumMod val="100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38100" dir="5400000" sy="96000" rotWithShape="0">
              <a:srgbClr val="000000">
                <a:alpha val="54000"/>
              </a:srgbClr>
            </a:outerShdw>
          </a:effectLst>
        </a:effectStyle>
        <a:effectStyle>
          <a:effectLst>
            <a:outerShdw blurRad="76200" dist="38100" dir="5400000" algn="ctr" rotWithShape="0">
              <a:srgbClr val="000000">
                <a:alpha val="76000"/>
              </a:srgbClr>
            </a:outerShdw>
          </a:effectLst>
          <a:scene3d>
            <a:camera prst="orthographicFront">
              <a:rot lat="0" lon="0" rev="0"/>
            </a:camera>
            <a:lightRig rig="balanced" dir="t"/>
          </a:scene3d>
          <a:sp3d prstMaterial="matte">
            <a:bevelT w="25400" h="25400" prst="relaxedInse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shade val="18000"/>
                <a:satMod val="160000"/>
                <a:lumMod val="28000"/>
              </a:schemeClr>
              <a:schemeClr val="phClr">
                <a:tint val="95000"/>
                <a:satMod val="160000"/>
                <a:lumMod val="116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amask" id="{F9A299A0-33D0-4E0F-9F3F-7163E3744208}" vid="{746EEEEA-FB6A-406B-B510-531588D5481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4033921[[fn=Damask]]</Template>
  <TotalTime>0</TotalTime>
  <Words>632</Words>
  <Application>Microsoft Office PowerPoint</Application>
  <PresentationFormat>Widescreen</PresentationFormat>
  <Paragraphs>164</Paragraphs>
  <Slides>19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5" baseType="lpstr">
      <vt:lpstr>Arial</vt:lpstr>
      <vt:lpstr>Bookman Old Style</vt:lpstr>
      <vt:lpstr>Calibri</vt:lpstr>
      <vt:lpstr>Rockwell</vt:lpstr>
      <vt:lpstr>Damask</vt:lpstr>
      <vt:lpstr>think-cell Slide</vt:lpstr>
      <vt:lpstr>Föräldramöte Sirius P12</vt:lpstr>
      <vt:lpstr>Agenda </vt:lpstr>
      <vt:lpstr>Laget 2023/24</vt:lpstr>
      <vt:lpstr>Summering säsongen 2022/23</vt:lpstr>
      <vt:lpstr>Utvärdering &amp; plan 2023/24</vt:lpstr>
      <vt:lpstr>Utvärdering &amp; plan 2023/24</vt:lpstr>
      <vt:lpstr>PowerPoint Presentation</vt:lpstr>
      <vt:lpstr>PowerPoint Presentation</vt:lpstr>
      <vt:lpstr>Träningstider</vt:lpstr>
      <vt:lpstr>Fysträning</vt:lpstr>
      <vt:lpstr>Serier + kallelser</vt:lpstr>
      <vt:lpstr>PowerPoint Presentation</vt:lpstr>
      <vt:lpstr>Spelregler </vt:lpstr>
      <vt:lpstr>Mål för säsongen</vt:lpstr>
      <vt:lpstr>Cuper</vt:lpstr>
      <vt:lpstr>Ekonomi – och  försäljning</vt:lpstr>
      <vt:lpstr>ÖVRIGT</vt:lpstr>
      <vt:lpstr>Q&amp;A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reas Ahlstrom</dc:creator>
  <cp:lastModifiedBy>Andreas Ahlstrom</cp:lastModifiedBy>
  <cp:revision>190</cp:revision>
  <dcterms:created xsi:type="dcterms:W3CDTF">2023-08-29T11:27:14Z</dcterms:created>
  <dcterms:modified xsi:type="dcterms:W3CDTF">2023-09-26T19:19:47Z</dcterms:modified>
</cp:coreProperties>
</file>